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894" r:id="rId2"/>
    <p:sldMasterId id="2147483897" r:id="rId3"/>
    <p:sldMasterId id="2147483927" r:id="rId4"/>
  </p:sldMasterIdLst>
  <p:notesMasterIdLst>
    <p:notesMasterId r:id="rId6"/>
  </p:notesMasterIdLst>
  <p:sldIdLst>
    <p:sldId id="355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86" userDrawn="1">
          <p15:clr>
            <a:srgbClr val="A4A3A4"/>
          </p15:clr>
        </p15:guide>
        <p15:guide id="2" pos="2925" userDrawn="1">
          <p15:clr>
            <a:srgbClr val="A4A3A4"/>
          </p15:clr>
        </p15:guide>
        <p15:guide id="3" pos="5556" userDrawn="1">
          <p15:clr>
            <a:srgbClr val="A4A3A4"/>
          </p15:clr>
        </p15:guide>
        <p15:guide id="4" pos="204" userDrawn="1">
          <p15:clr>
            <a:srgbClr val="A4A3A4"/>
          </p15:clr>
        </p15:guide>
        <p15:guide id="5" orient="horz" pos="25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000000"/>
    <a:srgbClr val="404040"/>
    <a:srgbClr val="A5C4E9"/>
    <a:srgbClr val="C5D9F1"/>
    <a:srgbClr val="B8D0EE"/>
    <a:srgbClr val="BFBFBF"/>
    <a:srgbClr val="D9D9D9"/>
    <a:srgbClr val="FFFFFF"/>
    <a:srgbClr val="93B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22" autoAdjust="0"/>
    <p:restoredTop sz="93333" autoAdjust="0"/>
  </p:normalViewPr>
  <p:slideViewPr>
    <p:cSldViewPr>
      <p:cViewPr varScale="1">
        <p:scale>
          <a:sx n="114" d="100"/>
          <a:sy n="114" d="100"/>
        </p:scale>
        <p:origin x="1392" y="102"/>
      </p:cViewPr>
      <p:guideLst>
        <p:guide orient="horz" pos="2886"/>
        <p:guide pos="2925"/>
        <p:guide pos="5556"/>
        <p:guide pos="204"/>
        <p:guide orient="horz" pos="2523"/>
      </p:guideLst>
    </p:cSldViewPr>
  </p:slideViewPr>
  <p:outlineViewPr>
    <p:cViewPr>
      <p:scale>
        <a:sx n="33" d="100"/>
        <a:sy n="33" d="100"/>
      </p:scale>
      <p:origin x="0" y="-97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0" d="100"/>
          <a:sy n="100" d="100"/>
        </p:scale>
        <p:origin x="-259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68EE6D3-671A-44F9-857B-7921A9FB27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229EC-1301-4BD3-A594-F773A2B7700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21C48C9-67C7-4B8E-AC5E-865137083052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7E3739-678E-4AD4-A825-437E90F79A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7406D3FD-9949-4B44-83F3-F142178473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82F17B-BDA6-4D2D-8954-F47E035F835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F397503-3E11-48FF-B5F4-463A5ED512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442AD82-D96E-45B4-8590-7317BBA31E63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42AD82-D96E-45B4-8590-7317BBA31E63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5726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5720" y="2390780"/>
            <a:ext cx="8572560" cy="1752600"/>
          </a:xfrm>
        </p:spPr>
        <p:txBody>
          <a:bodyPr/>
          <a:lstStyle>
            <a:lvl1pPr marL="0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85720" y="1571612"/>
            <a:ext cx="8572560" cy="642942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715140" y="4514864"/>
            <a:ext cx="2143151" cy="914400"/>
          </a:xfrm>
        </p:spPr>
        <p:txBody>
          <a:bodyPr>
            <a:normAutofit/>
          </a:bodyPr>
          <a:lstStyle>
            <a:lvl1pPr algn="r">
              <a:buNone/>
              <a:defRPr sz="1200"/>
            </a:lvl1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38D7843-1D82-4689-AADA-3EDA2BD8FCD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066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786322"/>
            <a:ext cx="5486400" cy="44290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095384"/>
            <a:ext cx="5486400" cy="3656028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28638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0D8D3BC-82D6-49AC-9244-D23354843A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057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F30B5D-B5F3-41CF-9905-CC76E91A5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615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383B9-458A-4E8B-9B0C-C3E469D0C1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850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013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648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">
          <p15:clr>
            <a:srgbClr val="FBAE40"/>
          </p15:clr>
        </p15:guide>
        <p15:guide id="2" orient="horz" pos="2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pos="54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12833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5720" y="2390780"/>
            <a:ext cx="8572560" cy="1752600"/>
          </a:xfrm>
        </p:spPr>
        <p:txBody>
          <a:bodyPr/>
          <a:lstStyle>
            <a:lvl1pPr marL="0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85720" y="1571612"/>
            <a:ext cx="8572560" cy="642942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715140" y="4514864"/>
            <a:ext cx="2143151" cy="914400"/>
          </a:xfrm>
        </p:spPr>
        <p:txBody>
          <a:bodyPr>
            <a:normAutofit/>
          </a:bodyPr>
          <a:lstStyle>
            <a:lvl1pPr algn="r">
              <a:buNone/>
              <a:defRPr sz="1200"/>
            </a:lvl1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38D7843-1D82-4689-AADA-3EDA2BD8FCD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9820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1214422"/>
            <a:ext cx="8715436" cy="571504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214282" y="1928802"/>
            <a:ext cx="8715436" cy="714380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786567" y="5514996"/>
            <a:ext cx="2143151" cy="914400"/>
          </a:xfrm>
        </p:spPr>
        <p:txBody>
          <a:bodyPr>
            <a:normAutofit/>
          </a:bodyPr>
          <a:lstStyle>
            <a:lvl1pPr algn="r">
              <a:buNone/>
              <a:defRPr sz="1200"/>
            </a:lvl1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C9068FB-0B86-485F-B56F-9374C1ECD7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3D1AEE8-54BF-48D6-BB07-1174AA163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08920"/>
            <a:ext cx="9144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36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857240"/>
            <a:ext cx="8715436" cy="857248"/>
          </a:xfrm>
        </p:spPr>
        <p:txBody>
          <a:bodyPr anchor="ctr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4282" y="1928802"/>
            <a:ext cx="8715436" cy="392909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0C6748-98C2-426E-8A1D-F3A40E6018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5306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5720" y="4781569"/>
            <a:ext cx="8501122" cy="1362075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5720" y="3138495"/>
            <a:ext cx="850112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22F1A0-BA07-4173-A689-D0AB679D31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8014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5720" y="1928802"/>
            <a:ext cx="4214842" cy="392909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2"/>
          </p:nvPr>
        </p:nvSpPr>
        <p:spPr>
          <a:xfrm>
            <a:off x="4643438" y="1928802"/>
            <a:ext cx="4214842" cy="392909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88253BB-9DEA-46B1-956D-F11EC646A3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508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5" descr="hilite-bild.jpg">
            <a:extLst>
              <a:ext uri="{FF2B5EF4-FFF2-40B4-BE49-F238E27FC236}">
                <a16:creationId xmlns:a16="http://schemas.microsoft.com/office/drawing/2014/main" id="{F6EAF4C7-F8F4-4B9C-A82F-CFBAB20DCF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28938"/>
            <a:ext cx="91440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1214422"/>
            <a:ext cx="8715436" cy="571504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214282" y="1928802"/>
            <a:ext cx="8715436" cy="714380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786567" y="5514996"/>
            <a:ext cx="2143151" cy="914400"/>
          </a:xfrm>
        </p:spPr>
        <p:txBody>
          <a:bodyPr>
            <a:normAutofit/>
          </a:bodyPr>
          <a:lstStyle>
            <a:lvl1pPr algn="r">
              <a:buNone/>
              <a:defRPr sz="1200"/>
            </a:lvl1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C9068FB-0B86-485F-B56F-9374C1ECD7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5DEE10-DF57-4951-9EEA-2685B04D1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" b="69043"/>
          <a:stretch/>
        </p:blipFill>
        <p:spPr>
          <a:xfrm>
            <a:off x="0" y="3640646"/>
            <a:ext cx="9144000" cy="173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573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1000108"/>
            <a:ext cx="8715436" cy="57150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5720" y="1714488"/>
            <a:ext cx="4143404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85720" y="2425688"/>
            <a:ext cx="4143404" cy="35544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14876" y="1714488"/>
            <a:ext cx="4143404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3"/>
          </p:nvPr>
        </p:nvSpPr>
        <p:spPr>
          <a:xfrm>
            <a:off x="4714876" y="2425688"/>
            <a:ext cx="4143404" cy="35544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A5D8704-EB59-47E3-ACD6-192431FD9C3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2875" y="6453188"/>
            <a:ext cx="3714750" cy="341312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404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928670"/>
            <a:ext cx="8715436" cy="6429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EDF5DFF-7CCB-4854-AE85-A2159330C1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0683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C9FE89F-A243-4EF6-9E5E-48F63FA22A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71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5720" y="1000107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03570" y="1000108"/>
            <a:ext cx="5454710" cy="492922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85720" y="2285991"/>
            <a:ext cx="3008313" cy="36433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376CE60-6048-4CCE-9524-FEC0183D23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1128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786322"/>
            <a:ext cx="5486400" cy="44290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095384"/>
            <a:ext cx="5486400" cy="3656028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28638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0D8D3BC-82D6-49AC-9244-D23354843A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8709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F30B5D-B5F3-41CF-9905-CC76E91A5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799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383B9-458A-4E8B-9B0C-C3E469D0C1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850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81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8466" y="-8468"/>
            <a:ext cx="9171316" cy="6874935"/>
            <a:chOff x="-8466" y="-8468"/>
            <a:chExt cx="9171316" cy="6874935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Freeform 3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Freeform 3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Freeform 3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3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Freeform 3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6" name="Freeform 3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1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595" y="2404534"/>
            <a:ext cx="582671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595" y="4050834"/>
            <a:ext cx="582671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43240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smtClean="0"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33891-D5E7-4C7B-BF1D-E855E53CB5A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939842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2700868"/>
            <a:ext cx="634771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93305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857240"/>
            <a:ext cx="8715436" cy="857248"/>
          </a:xfrm>
        </p:spPr>
        <p:txBody>
          <a:bodyPr anchor="ctr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4282" y="1928802"/>
            <a:ext cx="8715436" cy="392909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0C6748-98C2-426E-8A1D-F3A40E6018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8247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1320800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60589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9204" y="2160590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582542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66640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66640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184706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4" cy="1320800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67661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306904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498604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275" y="514925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2777069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smtClean="0"/>
              <a:t>10/2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33891-D5E7-4C7B-BF1D-E855E53CB5A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277005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800600"/>
            <a:ext cx="634771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" y="609600"/>
            <a:ext cx="6347714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5367338"/>
            <a:ext cx="634771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306041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70400"/>
            <a:ext cx="6347714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505063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zio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01074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470400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13869492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1931988"/>
            <a:ext cx="634771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917077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 cita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0595286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5720" y="4781569"/>
            <a:ext cx="8501122" cy="1362075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5720" y="3138495"/>
            <a:ext cx="850112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22F1A0-BA07-4173-A689-D0AB679D31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769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48" y="609600"/>
            <a:ext cx="634146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393454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smtClean="0"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33891-D5E7-4C7B-BF1D-E855E53CB5A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956543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7312" y="609600"/>
            <a:ext cx="978812" cy="5251451"/>
          </a:xfrm>
        </p:spPr>
        <p:txBody>
          <a:bodyPr vert="eaVert" anchor="ctr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609600"/>
            <a:ext cx="5195026" cy="5251451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20257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5720" y="1928802"/>
            <a:ext cx="4214842" cy="392909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2"/>
          </p:nvPr>
        </p:nvSpPr>
        <p:spPr>
          <a:xfrm>
            <a:off x="4643438" y="1928802"/>
            <a:ext cx="4214842" cy="392909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88253BB-9DEA-46B1-956D-F11EC646A3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926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1000108"/>
            <a:ext cx="8715436" cy="57150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5720" y="1714488"/>
            <a:ext cx="4143404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85720" y="2425688"/>
            <a:ext cx="4143404" cy="35544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14876" y="1714488"/>
            <a:ext cx="4143404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3"/>
          </p:nvPr>
        </p:nvSpPr>
        <p:spPr>
          <a:xfrm>
            <a:off x="4714876" y="2425688"/>
            <a:ext cx="4143404" cy="35544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A5D8704-EB59-47E3-ACD6-192431FD9C3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2875" y="6453188"/>
            <a:ext cx="3714750" cy="341312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228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282" y="928670"/>
            <a:ext cx="8715436" cy="6429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EDF5DFF-7CCB-4854-AE85-A2159330C1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18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C9FE89F-A243-4EF6-9E5E-48F63FA22A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875" y="6524625"/>
            <a:ext cx="3714750" cy="341313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942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5720" y="1000107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03570" y="1000108"/>
            <a:ext cx="5454710" cy="492922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85720" y="2285991"/>
            <a:ext cx="3008313" cy="36433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376CE60-6048-4CCE-9524-FEC0183D23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75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29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00E142-07B0-43BB-A2D4-E358D8751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81194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C087495-91A7-4380-8708-848198AD028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1026" name="Titelplatzhalter 1">
            <a:extLst>
              <a:ext uri="{FF2B5EF4-FFF2-40B4-BE49-F238E27FC236}">
                <a16:creationId xmlns:a16="http://schemas.microsoft.com/office/drawing/2014/main" id="{20A02BFA-EDD2-4386-A407-BA1046E7063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14313" y="1071563"/>
            <a:ext cx="8715375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BEDBA0B1-C324-4178-90A7-AC9A6C6385D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14313" y="1928813"/>
            <a:ext cx="8715375" cy="392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DBC943-8AE1-4577-A33C-3F47A41CB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0825" y="6524625"/>
            <a:ext cx="3714750" cy="34131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7" r:id="rId2"/>
    <p:sldLayoutId id="2147483888" r:id="rId3"/>
    <p:sldLayoutId id="2147483889" r:id="rId4"/>
    <p:sldLayoutId id="2147483883" r:id="rId5"/>
    <p:sldLayoutId id="2147483890" r:id="rId6"/>
    <p:sldLayoutId id="2147483891" r:id="rId7"/>
    <p:sldLayoutId id="2147483892" r:id="rId8"/>
    <p:sldLayoutId id="2147483884" r:id="rId9"/>
    <p:sldLayoutId id="2147483885" r:id="rId10"/>
    <p:sldLayoutId id="2147483886" r:id="rId11"/>
    <p:sldLayoutId id="2147483893" r:id="rId1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32475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467544" y="6453336"/>
            <a:ext cx="19479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0" dirty="0">
                <a:solidFill>
                  <a:srgbClr val="1A8C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BMI Project“</a:t>
            </a:r>
            <a:r>
              <a:rPr lang="de-DE" sz="1000" b="0" baseline="0" dirty="0">
                <a:solidFill>
                  <a:srgbClr val="1A8C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äsentation ROI</a:t>
            </a:r>
            <a:endParaRPr lang="de-DE" sz="1000" b="0" dirty="0">
              <a:solidFill>
                <a:srgbClr val="1A8C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299430" y="6453336"/>
            <a:ext cx="3770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449B38D-192A-44A5-A781-DF2FA24E73CC}" type="slidenum">
              <a:rPr lang="de-DE" sz="1000" b="0" smtClean="0">
                <a:solidFill>
                  <a:srgbClr val="1A8C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/>
              <a:t>‹N›</a:t>
            </a:fld>
            <a:endParaRPr lang="de-DE" sz="1000" b="0" dirty="0">
              <a:solidFill>
                <a:srgbClr val="1A8C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39552" y="6381328"/>
            <a:ext cx="8064698" cy="0"/>
          </a:xfrm>
          <a:prstGeom prst="line">
            <a:avLst/>
          </a:prstGeom>
          <a:ln>
            <a:solidFill>
              <a:srgbClr val="1A8C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4430565" y="6453336"/>
            <a:ext cx="10775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0" dirty="0">
                <a:solidFill>
                  <a:srgbClr val="1A8C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zember 2015</a:t>
            </a:r>
          </a:p>
        </p:txBody>
      </p:sp>
    </p:spTree>
    <p:extLst>
      <p:ext uri="{BB962C8B-B14F-4D97-AF65-F5344CB8AC3E}">
        <p14:creationId xmlns:p14="http://schemas.microsoft.com/office/powerpoint/2010/main" val="1340017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5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049A9C-2B85-44F9-8B49-D448EDC7A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58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7F0AC8-5D6C-4DBD-A818-0E8BFB931AD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1026" name="Titelplatzhalter 1">
            <a:extLst>
              <a:ext uri="{FF2B5EF4-FFF2-40B4-BE49-F238E27FC236}">
                <a16:creationId xmlns:a16="http://schemas.microsoft.com/office/drawing/2014/main" id="{20A02BFA-EDD2-4386-A407-BA1046E7063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14313" y="1071563"/>
            <a:ext cx="8715375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BEDBA0B1-C324-4178-90A7-AC9A6C6385D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14313" y="1928813"/>
            <a:ext cx="8715375" cy="392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DBC943-8AE1-4577-A33C-3F47A41CB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0825" y="6524625"/>
            <a:ext cx="3714750" cy="34131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© Südtiroler Informatik AG – </a:t>
            </a:r>
            <a:r>
              <a:rPr lang="de-DE" err="1"/>
              <a:t>Informatica</a:t>
            </a:r>
            <a:r>
              <a:rPr lang="de-DE"/>
              <a:t> Alto </a:t>
            </a:r>
            <a:r>
              <a:rPr lang="de-DE" err="1"/>
              <a:t>Adige</a:t>
            </a:r>
            <a:r>
              <a:rPr lang="de-DE"/>
              <a:t> SP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02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ill Sans MT" panose="020B05020201040202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71317" cy="6874935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590"/>
            <a:ext cx="634771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5258" y="6041363"/>
            <a:ext cx="684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041363"/>
            <a:ext cx="4622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/>
              <a:t>© Südtiroler Informatik AG – Informatica Alto Adige SP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4676" y="6041363"/>
            <a:ext cx="512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›</a:t>
            </a:fld>
            <a:endParaRPr lang="en-US" dirty="0"/>
          </a:p>
        </p:txBody>
      </p:sp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51679467-27E7-485B-9CDD-4C3AF21506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81194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2E0B0838-693E-4A61-B5A6-1E88DB3CE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FF5B9FDA-8C8B-4318-954A-70BE20BFC1E6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889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C4F01C8-FA39-4A2E-B312-8F2EDB2A3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C4F01C8-FA39-4A2E-B312-8F2EDB2A3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5E802277-CC4A-4EC5-8C13-E3210CC07B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09FC345-DC4A-0C4C-96C7-24DB6D1003B9}"/>
              </a:ext>
            </a:extLst>
          </p:cNvPr>
          <p:cNvSpPr txBox="1"/>
          <p:nvPr/>
        </p:nvSpPr>
        <p:spPr>
          <a:xfrm>
            <a:off x="910971" y="1829285"/>
            <a:ext cx="295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Frutiger" panose="020B0500000000000000" pitchFamily="34" charset="0"/>
              </a:rPr>
              <a:t>Digital ID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464B09F-94FB-8E40-8E20-C0116249D8B2}"/>
              </a:ext>
            </a:extLst>
          </p:cNvPr>
          <p:cNvSpPr txBox="1"/>
          <p:nvPr/>
        </p:nvSpPr>
        <p:spPr>
          <a:xfrm>
            <a:off x="2966735" y="792116"/>
            <a:ext cx="3960441" cy="738664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Frutiger" panose="020B0500000000000000" pitchFamily="34" charset="0"/>
              </a:rPr>
              <a:t>Central </a:t>
            </a:r>
            <a:r>
              <a:rPr lang="de-DE" sz="2400" dirty="0" err="1">
                <a:latin typeface="Frutiger" panose="020B0500000000000000" pitchFamily="34" charset="0"/>
              </a:rPr>
              <a:t>population</a:t>
            </a:r>
            <a:r>
              <a:rPr lang="de-DE" sz="2400" dirty="0">
                <a:latin typeface="Frutiger" panose="020B0500000000000000" pitchFamily="34" charset="0"/>
              </a:rPr>
              <a:t> </a:t>
            </a:r>
            <a:r>
              <a:rPr lang="de-DE" sz="2400" dirty="0" err="1">
                <a:latin typeface="Frutiger" panose="020B0500000000000000" pitchFamily="34" charset="0"/>
              </a:rPr>
              <a:t>register</a:t>
            </a:r>
            <a:endParaRPr lang="de-DE" sz="2400" dirty="0">
              <a:latin typeface="Frutiger" panose="020B0500000000000000" pitchFamily="34" charset="0"/>
            </a:endParaRPr>
          </a:p>
          <a:p>
            <a:r>
              <a:rPr lang="de-DE" dirty="0">
                <a:latin typeface="Frutiger" panose="020B0500000000000000" pitchFamily="34" charset="0"/>
              </a:rPr>
              <a:t>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7F76443-1697-F244-86DF-3BEFC8F397C6}"/>
              </a:ext>
            </a:extLst>
          </p:cNvPr>
          <p:cNvSpPr txBox="1"/>
          <p:nvPr/>
        </p:nvSpPr>
        <p:spPr>
          <a:xfrm>
            <a:off x="1979712" y="2980291"/>
            <a:ext cx="432842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latin typeface="Frutiger" panose="020B0500000000000000" pitchFamily="34" charset="0"/>
              </a:rPr>
              <a:t>Consolidation </a:t>
            </a:r>
            <a:r>
              <a:rPr lang="de-DE" sz="2400" dirty="0" err="1">
                <a:latin typeface="Frutiger" panose="020B0500000000000000" pitchFamily="34" charset="0"/>
              </a:rPr>
              <a:t>of</a:t>
            </a:r>
            <a:r>
              <a:rPr lang="de-DE" sz="2400" dirty="0">
                <a:latin typeface="Frutiger" panose="020B0500000000000000" pitchFamily="34" charset="0"/>
              </a:rPr>
              <a:t> </a:t>
            </a:r>
            <a:r>
              <a:rPr lang="de-DE" sz="2400" dirty="0" err="1">
                <a:latin typeface="Frutiger" panose="020B0500000000000000" pitchFamily="34" charset="0"/>
              </a:rPr>
              <a:t>infrastructure</a:t>
            </a:r>
            <a:endParaRPr lang="de-DE" sz="2400" dirty="0">
              <a:latin typeface="Frutiger" panose="020B0500000000000000" pitchFamily="34" charset="0"/>
            </a:endParaRPr>
          </a:p>
          <a:p>
            <a:endParaRPr lang="de-DE" dirty="0">
              <a:latin typeface="Frutiger" panose="020B0500000000000000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C81CEB8-753D-0949-B944-9454AC1E76CD}"/>
              </a:ext>
            </a:extLst>
          </p:cNvPr>
          <p:cNvSpPr txBox="1"/>
          <p:nvPr/>
        </p:nvSpPr>
        <p:spPr>
          <a:xfrm>
            <a:off x="1076188" y="5439906"/>
            <a:ext cx="368722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latin typeface="Frutiger" panose="020B0500000000000000" pitchFamily="34" charset="0"/>
              </a:rPr>
              <a:t>Consolidation </a:t>
            </a:r>
            <a:r>
              <a:rPr lang="de-DE" sz="2400" dirty="0" err="1">
                <a:latin typeface="Frutiger" panose="020B0500000000000000" pitchFamily="34" charset="0"/>
              </a:rPr>
              <a:t>of</a:t>
            </a:r>
            <a:r>
              <a:rPr lang="de-DE" sz="2400" dirty="0">
                <a:latin typeface="Frutiger" panose="020B0500000000000000" pitchFamily="34" charset="0"/>
              </a:rPr>
              <a:t> </a:t>
            </a:r>
            <a:r>
              <a:rPr lang="de-DE" sz="2400" dirty="0" err="1">
                <a:latin typeface="Frutiger" panose="020B0500000000000000" pitchFamily="34" charset="0"/>
              </a:rPr>
              <a:t>solutions</a:t>
            </a:r>
            <a:endParaRPr lang="de-DE" sz="2400" dirty="0">
              <a:latin typeface="Frutiger" panose="020B0500000000000000" pitchFamily="34" charset="0"/>
            </a:endParaRPr>
          </a:p>
          <a:p>
            <a:endParaRPr lang="de-DE" sz="2400" dirty="0">
              <a:latin typeface="Frutiger" panose="020B0500000000000000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7BB17E7-1067-F04A-9CC2-FF72F6FA27E8}"/>
              </a:ext>
            </a:extLst>
          </p:cNvPr>
          <p:cNvSpPr txBox="1"/>
          <p:nvPr/>
        </p:nvSpPr>
        <p:spPr>
          <a:xfrm>
            <a:off x="3995936" y="4348598"/>
            <a:ext cx="3158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latin typeface="Frutiger" panose="020B0500000000000000" pitchFamily="34" charset="0"/>
              </a:rPr>
              <a:t>Single digital </a:t>
            </a:r>
            <a:r>
              <a:rPr lang="de-DE" sz="2400" dirty="0" err="1">
                <a:latin typeface="Frutiger" panose="020B0500000000000000" pitchFamily="34" charset="0"/>
              </a:rPr>
              <a:t>gateway</a:t>
            </a:r>
            <a:endParaRPr lang="de-DE" sz="2400" dirty="0">
              <a:latin typeface="Frutiger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540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5" grpId="0"/>
      <p:bldP spid="6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0nBWNN9gz8dDcrz.pG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ipH_Lrw0SQvBCn0FyC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eKNOniBBlGqVmOUVxA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ipH_Lrw0SQvBCn0FyC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ag_v3">
  <a:themeElements>
    <a:clrScheme name="siag">
      <a:dk1>
        <a:srgbClr val="1F497D"/>
      </a:dk1>
      <a:lt1>
        <a:srgbClr val="FFFFFF"/>
      </a:lt1>
      <a:dk2>
        <a:srgbClr val="000000"/>
      </a:dk2>
      <a:lt2>
        <a:srgbClr val="F2F2F2"/>
      </a:lt2>
      <a:accent1>
        <a:srgbClr val="1F497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F497D"/>
      </a:hlink>
      <a:folHlink>
        <a:srgbClr val="800080"/>
      </a:folHlink>
    </a:clrScheme>
    <a:fontScheme name="Siag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nibz_name of the speaker">
  <a:themeElements>
    <a:clrScheme name="unibz">
      <a:dk1>
        <a:srgbClr val="007CC2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92D050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40207 Simple Presentation.potx" id="{C093E985-5620-4F54-80EE-75BECDF40EA4}" vid="{3709264D-ED67-437C-8655-8FFC8E212176}"/>
    </a:ext>
  </a:extLst>
</a:theme>
</file>

<file path=ppt/theme/theme3.xml><?xml version="1.0" encoding="utf-8"?>
<a:theme xmlns:a="http://schemas.openxmlformats.org/drawingml/2006/main" name="1_siag_v3">
  <a:themeElements>
    <a:clrScheme name="siag">
      <a:dk1>
        <a:srgbClr val="1F497D"/>
      </a:dk1>
      <a:lt1>
        <a:srgbClr val="FFFFFF"/>
      </a:lt1>
      <a:dk2>
        <a:srgbClr val="000000"/>
      </a:dk2>
      <a:lt2>
        <a:srgbClr val="F2F2F2"/>
      </a:lt2>
      <a:accent1>
        <a:srgbClr val="1F497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F497D"/>
      </a:hlink>
      <a:folHlink>
        <a:srgbClr val="800080"/>
      </a:folHlink>
    </a:clrScheme>
    <a:fontScheme name="Siag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faccettatura">
  <a:themeElements>
    <a:clrScheme name="Personalizzato 4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5CBE3"/>
      </a:accent1>
      <a:accent2>
        <a:srgbClr val="034266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Sfaccettatura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faccettatur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ag_v3</Template>
  <TotalTime>0</TotalTime>
  <Words>16</Words>
  <Application>Microsoft Office PowerPoint</Application>
  <PresentationFormat>Presentazione su schermo (4:3)</PresentationFormat>
  <Paragraphs>7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13" baseType="lpstr">
      <vt:lpstr>Arial</vt:lpstr>
      <vt:lpstr>Calibri</vt:lpstr>
      <vt:lpstr>Frutiger</vt:lpstr>
      <vt:lpstr>Gill Sans MT</vt:lpstr>
      <vt:lpstr>Tahoma</vt:lpstr>
      <vt:lpstr>Trebuchet MS</vt:lpstr>
      <vt:lpstr>Wingdings 3</vt:lpstr>
      <vt:lpstr>siag_v3</vt:lpstr>
      <vt:lpstr>unibz_name of the speaker</vt:lpstr>
      <vt:lpstr>1_siag_v3</vt:lpstr>
      <vt:lpstr>Sfaccettatura</vt:lpstr>
      <vt:lpstr>think-cell Slide</vt:lpstr>
      <vt:lpstr>Presentazione standard di PowerPoint</vt:lpstr>
    </vt:vector>
  </TitlesOfParts>
  <Company>SI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Helmut Gasser</dc:creator>
  <cp:lastModifiedBy>Goldoni, Lorenzo</cp:lastModifiedBy>
  <cp:revision>235</cp:revision>
  <dcterms:created xsi:type="dcterms:W3CDTF">2012-02-21T07:32:53Z</dcterms:created>
  <dcterms:modified xsi:type="dcterms:W3CDTF">2019-10-22T10:50:23Z</dcterms:modified>
</cp:coreProperties>
</file>